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0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0000"/>
    <a:srgbClr val="9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C33114-DE3E-4DC9-9C9A-1724C5789572}" v="4" dt="2026-02-14T20:19:35.04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521" autoAdjust="0"/>
  </p:normalViewPr>
  <p:slideViewPr>
    <p:cSldViewPr snapToGrid="0" showGuides="1">
      <p:cViewPr>
        <p:scale>
          <a:sx n="125" d="100"/>
          <a:sy n="125" d="100"/>
        </p:scale>
        <p:origin x="-192" y="-1020"/>
      </p:cViewPr>
      <p:guideLst>
        <p:guide orient="horz" pos="2160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Vonwil" userId="0ad870db-0542-47a7-a857-35483da1cf18" providerId="ADAL" clId="{36C3E75C-CF77-4501-9C9B-93F7F9890DFD}"/>
    <pc:docChg chg="custSel modSld">
      <pc:chgData name="Thomas Vonwil" userId="0ad870db-0542-47a7-a857-35483da1cf18" providerId="ADAL" clId="{36C3E75C-CF77-4501-9C9B-93F7F9890DFD}" dt="2026-02-14T20:21:00.387" v="57" actId="34135"/>
      <pc:docMkLst>
        <pc:docMk/>
      </pc:docMkLst>
      <pc:sldChg chg="addSp delSp modSp mod">
        <pc:chgData name="Thomas Vonwil" userId="0ad870db-0542-47a7-a857-35483da1cf18" providerId="ADAL" clId="{36C3E75C-CF77-4501-9C9B-93F7F9890DFD}" dt="2026-02-14T20:21:00.387" v="57" actId="34135"/>
        <pc:sldMkLst>
          <pc:docMk/>
          <pc:sldMk cId="1840541264" sldId="305"/>
        </pc:sldMkLst>
        <pc:spChg chg="mod">
          <ac:chgData name="Thomas Vonwil" userId="0ad870db-0542-47a7-a857-35483da1cf18" providerId="ADAL" clId="{36C3E75C-CF77-4501-9C9B-93F7F9890DFD}" dt="2026-02-14T20:19:34.979" v="10" actId="948"/>
          <ac:spMkLst>
            <pc:docMk/>
            <pc:sldMk cId="1840541264" sldId="305"/>
            <ac:spMk id="6" creationId="{6A175F7F-DA96-FD4F-1A23-199694046A2E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11" creationId="{B0CBE68A-18B6-3D40-4834-1F0B9E48EF13}"/>
          </ac:spMkLst>
        </pc:spChg>
        <pc:spChg chg="add del mod modVis">
          <ac:chgData name="Thomas Vonwil" userId="0ad870db-0542-47a7-a857-35483da1cf18" providerId="ADAL" clId="{36C3E75C-CF77-4501-9C9B-93F7F9890DFD}" dt="2026-02-14T20:19:35.039" v="39"/>
          <ac:spMkLst>
            <pc:docMk/>
            <pc:sldMk cId="1840541264" sldId="305"/>
            <ac:spMk id="12" creationId="{D5AEFF49-23D1-1669-97A9-510B1603FA6D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21" creationId="{0863983C-08C7-FB34-8240-67512E217414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23" creationId="{8FD55690-77CE-2567-6B51-7F2B9E731AE0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38" creationId="{728F3A69-CCB1-918D-88A1-932126920FC1}"/>
          </ac:spMkLst>
        </pc:spChg>
        <pc:spChg chg="mod">
          <ac:chgData name="Thomas Vonwil" userId="0ad870db-0542-47a7-a857-35483da1cf18" providerId="ADAL" clId="{36C3E75C-CF77-4501-9C9B-93F7F9890DFD}" dt="2026-02-14T20:20:48.479" v="51" actId="1038"/>
          <ac:spMkLst>
            <pc:docMk/>
            <pc:sldMk cId="1840541264" sldId="305"/>
            <ac:spMk id="39" creationId="{800D1181-297A-2048-34AB-31C3554F9BC5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41" creationId="{4C4A25F0-CCE6-03FA-3B98-8B05EAEE36BF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44" creationId="{431EEF0F-F126-0614-CB80-45A72B6618AE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45" creationId="{592570F8-C546-C5AC-D33B-D924A7C7C5AA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46" creationId="{02B22B29-7528-7A12-A558-88EDD9003891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47" creationId="{3A6238CD-796D-8439-5EEF-E54EDCDC8CB9}"/>
          </ac:spMkLst>
        </pc:spChg>
        <pc:spChg chg="mod">
          <ac:chgData name="Thomas Vonwil" userId="0ad870db-0542-47a7-a857-35483da1cf18" providerId="ADAL" clId="{36C3E75C-CF77-4501-9C9B-93F7F9890DFD}" dt="2026-02-14T20:21:00.387" v="57" actId="34135"/>
          <ac:spMkLst>
            <pc:docMk/>
            <pc:sldMk cId="1840541264" sldId="305"/>
            <ac:spMk id="51" creationId="{11AB4A59-9D0E-937A-F160-5340681AFE64}"/>
          </ac:spMkLst>
        </pc:spChg>
        <pc:graphicFrameChg chg="mod">
          <ac:chgData name="Thomas Vonwil" userId="0ad870db-0542-47a7-a857-35483da1cf18" providerId="ADAL" clId="{36C3E75C-CF77-4501-9C9B-93F7F9890DFD}" dt="2026-02-14T20:19:35.047" v="41"/>
          <ac:graphicFrameMkLst>
            <pc:docMk/>
            <pc:sldMk cId="1840541264" sldId="305"/>
            <ac:graphicFrameMk id="20" creationId="{B48FABF1-9D81-C278-282B-E0142565C9C2}"/>
          </ac:graphicFrameMkLst>
        </pc:graphicFrameChg>
        <pc:cxnChg chg="mod">
          <ac:chgData name="Thomas Vonwil" userId="0ad870db-0542-47a7-a857-35483da1cf18" providerId="ADAL" clId="{36C3E75C-CF77-4501-9C9B-93F7F9890DFD}" dt="2026-02-14T20:20:52.357" v="56" actId="1038"/>
          <ac:cxnSpMkLst>
            <pc:docMk/>
            <pc:sldMk cId="1840541264" sldId="305"/>
            <ac:cxnSpMk id="40" creationId="{3052F088-2DF5-C0F8-03F7-81E99ED9164F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01E5C1-2DEA-4041-8A4A-AE20901D7E13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4903DA-F074-4C97-8E77-5CE68538973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3899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B127AF-8A4A-4751-BD74-DCD4610F0C4D}" type="slidenum">
              <a:rPr lang="aa-ET" smtClean="0"/>
              <a:t>1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503111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D932A5A-781C-D37B-D67B-41C5080361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6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932A5A-781C-D37B-D67B-41C508036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5A417E2-5699-465F-947D-9AF894144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426" y="235668"/>
            <a:ext cx="11416203" cy="895548"/>
          </a:xfrm>
          <a:prstGeom prst="rect">
            <a:avLst/>
          </a:prstGeom>
        </p:spPr>
        <p:txBody>
          <a:bodyPr vert="horz" lIns="0" tIns="50800" rIns="0" bIns="50800" anchor="b">
            <a:noAutofit/>
          </a:bodyPr>
          <a:lstStyle>
            <a:lvl1pPr>
              <a:lnSpc>
                <a:spcPct val="105000"/>
              </a:lnSpc>
              <a:defRPr sz="28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Tit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401745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  <p15:guide id="2" orient="horz" pos="936">
          <p15:clr>
            <a:srgbClr val="FBAE40"/>
          </p15:clr>
        </p15:guide>
        <p15:guide id="3" orient="horz" pos="3960" userDrawn="1">
          <p15:clr>
            <a:srgbClr val="FBAE40"/>
          </p15:clr>
        </p15:guide>
        <p15:guide id="4" pos="240" userDrawn="1">
          <p15:clr>
            <a:srgbClr val="FBAE40"/>
          </p15:clr>
        </p15:guide>
        <p15:guide id="5" pos="74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2CA338C-90F0-35B9-3E07-3D9DC1576D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7144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CA338C-90F0-35B9-3E07-3D9DC1576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971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971073-030A-1EBD-7FAF-365F2E89E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B48FABF1-9D81-C278-282B-E0142565C9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0264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8FABF1-9D81-C278-282B-E0142565C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A175F7F-DA96-FD4F-1A23-199694046A2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[Team] | OKRs 2026</a:t>
            </a:r>
            <a:br>
              <a:rPr lang="en-US" dirty="0"/>
            </a:br>
            <a:r>
              <a:rPr lang="en-US" sz="1400" b="0" dirty="0"/>
              <a:t>Version: Q1’26 | Owner: [(individual) name] | Last update: [date]</a:t>
            </a:r>
            <a:endParaRPr 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B46AC6-ABD3-5FEE-C88D-ED5A5BB463D5}"/>
              </a:ext>
            </a:extLst>
          </p:cNvPr>
          <p:cNvSpPr txBox="1">
            <a:spLocks/>
          </p:cNvSpPr>
          <p:nvPr/>
        </p:nvSpPr>
        <p:spPr>
          <a:xfrm>
            <a:off x="390426" y="1546319"/>
            <a:ext cx="3740338" cy="21730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5000"/>
              </a:lnSpc>
              <a:spcAft>
                <a:spcPts val="600"/>
              </a:spcAft>
            </a:pPr>
            <a:r>
              <a:rPr lang="en-US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Objective 1: [TBD.]</a:t>
            </a:r>
          </a:p>
          <a:p>
            <a:pPr algn="l">
              <a:lnSpc>
                <a:spcPct val="105000"/>
              </a:lnSpc>
              <a:spcAft>
                <a:spcPts val="600"/>
              </a:spcAft>
            </a:pPr>
            <a:endParaRPr lang="en-US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l">
              <a:lnSpc>
                <a:spcPct val="105000"/>
              </a:lnSpc>
              <a:spcAft>
                <a:spcPts val="600"/>
              </a:spcAft>
            </a:pPr>
            <a:r>
              <a:rPr lang="en-US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Key Results:</a:t>
            </a:r>
            <a:endParaRPr lang="en-US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8E0252-4071-29DF-B49E-1D8B18BDFB6B}"/>
              </a:ext>
            </a:extLst>
          </p:cNvPr>
          <p:cNvSpPr txBox="1">
            <a:spLocks/>
          </p:cNvSpPr>
          <p:nvPr/>
        </p:nvSpPr>
        <p:spPr>
          <a:xfrm>
            <a:off x="4227273" y="1546319"/>
            <a:ext cx="3740338" cy="21730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</a:pPr>
            <a:r>
              <a:rPr lang="en-US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Objective 2: [TBD.]</a:t>
            </a:r>
          </a:p>
          <a:p>
            <a:pPr>
              <a:lnSpc>
                <a:spcPct val="105000"/>
              </a:lnSpc>
              <a:spcAft>
                <a:spcPts val="600"/>
              </a:spcAft>
            </a:pPr>
            <a:endParaRPr lang="en-US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5000"/>
              </a:lnSpc>
              <a:spcAft>
                <a:spcPts val="600"/>
              </a:spcAft>
            </a:pPr>
            <a:r>
              <a:rPr lang="en-US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Key Results: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EC7697-5702-2A1D-89E8-7D07B6418DD1}"/>
              </a:ext>
            </a:extLst>
          </p:cNvPr>
          <p:cNvSpPr txBox="1">
            <a:spLocks/>
          </p:cNvSpPr>
          <p:nvPr/>
        </p:nvSpPr>
        <p:spPr>
          <a:xfrm>
            <a:off x="8064121" y="1546319"/>
            <a:ext cx="3740338" cy="21730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5000"/>
              </a:lnSpc>
              <a:spcAft>
                <a:spcPts val="600"/>
              </a:spcAft>
            </a:pPr>
            <a:r>
              <a:rPr lang="en-US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Objective 3: [TBD.]</a:t>
            </a:r>
          </a:p>
          <a:p>
            <a:pPr algn="l">
              <a:lnSpc>
                <a:spcPct val="105000"/>
              </a:lnSpc>
              <a:spcAft>
                <a:spcPts val="600"/>
              </a:spcAft>
            </a:pPr>
            <a:endParaRPr lang="en-US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l">
              <a:lnSpc>
                <a:spcPct val="105000"/>
              </a:lnSpc>
              <a:spcAft>
                <a:spcPts val="600"/>
              </a:spcAft>
            </a:pPr>
            <a:r>
              <a:rPr lang="en-US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Key Results: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  <a:p>
            <a:pPr marL="171450" indent="-171450">
              <a:lnSpc>
                <a:spcPct val="10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[TBD.]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3FBF109-A652-CED9-9EFF-0CC09A21F76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569872" y="6380239"/>
            <a:ext cx="6237953" cy="401635"/>
            <a:chOff x="5455572" y="6380239"/>
            <a:chExt cx="6237953" cy="401635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28F3A69-CCB1-918D-88A1-932126920F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613400" y="6380239"/>
              <a:ext cx="6080125" cy="40163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00D1181-297A-2048-34AB-31C3554F9BC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387369" y="6426870"/>
              <a:ext cx="477435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Rating scale</a:t>
              </a:r>
              <a:endParaRPr lang="en-US" sz="1000" b="1" baseline="30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3052F088-2DF5-C0F8-03F7-81E99ED9164F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>
              <a:off x="7231665" y="6427168"/>
              <a:ext cx="0" cy="307777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C4A25F0-CCE6-03FA-3B98-8B05EAEE36BF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213613" y="6504112"/>
              <a:ext cx="38267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At risk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6E6023C-F799-55FF-BD42-BC9790EC75F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077071" y="6427168"/>
              <a:ext cx="55986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Not achieved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31EEF0F-F126-0614-CB80-45A72B6618A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223095" y="6427168"/>
              <a:ext cx="551556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On track/ achieved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92570F8-C546-C5AC-D33B-D924A7C7C5A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311553" y="6427168"/>
              <a:ext cx="4449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Not yet started</a:t>
              </a:r>
            </a:p>
          </p:txBody>
        </p:sp>
        <p:sp>
          <p:nvSpPr>
            <p:cNvPr id="46" name="TextBox 5">
              <a:extLst>
                <a:ext uri="{FF2B5EF4-FFF2-40B4-BE49-F238E27FC236}">
                  <a16:creationId xmlns:a16="http://schemas.microsoft.com/office/drawing/2014/main" id="{02B22B29-7528-7A12-A558-88EDD9003891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455572" y="6488723"/>
              <a:ext cx="300037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Key</a:t>
              </a:r>
              <a:endParaRPr kumimoji="0" lang="en-US" sz="12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7" name="TextBox 7">
              <a:extLst>
                <a:ext uri="{FF2B5EF4-FFF2-40B4-BE49-F238E27FC236}">
                  <a16:creationId xmlns:a16="http://schemas.microsoft.com/office/drawing/2014/main" id="{3A6238CD-796D-8439-5EEF-E54EDCDC8CB9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227314" y="6427168"/>
              <a:ext cx="86373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609493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tretch goal</a:t>
              </a:r>
            </a:p>
            <a:p>
              <a:pPr marL="0" marR="0" lvl="0" indent="0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(for key results)</a:t>
              </a: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A39B96C7-E0A5-F6AD-3E1D-AF249A964AC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920306" y="6477997"/>
              <a:ext cx="235770" cy="206118"/>
            </a:xfrm>
            <a:prstGeom prst="triangle">
              <a:avLst/>
            </a:prstGeom>
            <a:solidFill>
              <a:srgbClr val="DECC00"/>
            </a:solidFill>
            <a:ln w="12700">
              <a:solidFill>
                <a:srgbClr val="B88300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00">
                <a:latin typeface="+mj-lt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863983C-08C7-FB34-8240-67512E21741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914902" y="6458902"/>
              <a:ext cx="244308" cy="244308"/>
            </a:xfrm>
            <a:prstGeom prst="ellipse">
              <a:avLst/>
            </a:prstGeom>
            <a:solidFill>
              <a:srgbClr val="02A200"/>
            </a:solidFill>
            <a:ln w="12700">
              <a:solidFill>
                <a:srgbClr val="0037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2" name="Flowchart: Alternate Process 21">
              <a:extLst>
                <a:ext uri="{FF2B5EF4-FFF2-40B4-BE49-F238E27FC236}">
                  <a16:creationId xmlns:a16="http://schemas.microsoft.com/office/drawing/2014/main" id="{96261DB6-9514-89DF-0111-A6825E76246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003360" y="6458902"/>
              <a:ext cx="244308" cy="244308"/>
            </a:xfrm>
            <a:prstGeom prst="flowChartAlternateProcess">
              <a:avLst/>
            </a:prstGeom>
            <a:solidFill>
              <a:schemeClr val="bg2">
                <a:lumMod val="90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FD55690-77CE-2567-6B51-7F2B9E731AE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2700000">
              <a:off x="10776866" y="6487614"/>
              <a:ext cx="186884" cy="186884"/>
            </a:xfrm>
            <a:prstGeom prst="roundRect">
              <a:avLst>
                <a:gd name="adj" fmla="val 9359"/>
              </a:avLst>
            </a:prstGeom>
            <a:solidFill>
              <a:srgbClr val="BB001B"/>
            </a:solidFill>
            <a:ln w="12700">
              <a:solidFill>
                <a:srgbClr val="640000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00">
                <a:latin typeface="+mj-lt"/>
              </a:endParaRPr>
            </a:p>
          </p:txBody>
        </p:sp>
        <p:sp>
          <p:nvSpPr>
            <p:cNvPr id="51" name="Arrow: Right 50">
              <a:extLst>
                <a:ext uri="{FF2B5EF4-FFF2-40B4-BE49-F238E27FC236}">
                  <a16:creationId xmlns:a16="http://schemas.microsoft.com/office/drawing/2014/main" id="{11AB4A59-9D0E-937A-F160-5340681AFE6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16200000">
              <a:off x="5897247" y="6473773"/>
              <a:ext cx="226962" cy="214567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09493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609493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609493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609493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609493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609493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609493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609493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609493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C87A9679-9214-55BA-47A8-E84D4318E790}"/>
              </a:ext>
            </a:extLst>
          </p:cNvPr>
          <p:cNvSpPr>
            <a:spLocks/>
          </p:cNvSpPr>
          <p:nvPr/>
        </p:nvSpPr>
        <p:spPr>
          <a:xfrm>
            <a:off x="10034606" y="6477997"/>
            <a:ext cx="235770" cy="206118"/>
          </a:xfrm>
          <a:prstGeom prst="triangle">
            <a:avLst/>
          </a:prstGeom>
          <a:solidFill>
            <a:srgbClr val="DECC00"/>
          </a:solidFill>
          <a:ln w="12700">
            <a:solidFill>
              <a:srgbClr val="B883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0">
              <a:latin typeface="+mj-lt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59FC92-350C-B636-B599-6732F399CE36}"/>
              </a:ext>
            </a:extLst>
          </p:cNvPr>
          <p:cNvSpPr>
            <a:spLocks/>
          </p:cNvSpPr>
          <p:nvPr/>
        </p:nvSpPr>
        <p:spPr>
          <a:xfrm>
            <a:off x="9029202" y="6458902"/>
            <a:ext cx="244308" cy="244308"/>
          </a:xfrm>
          <a:prstGeom prst="ellipse">
            <a:avLst/>
          </a:prstGeom>
          <a:solidFill>
            <a:srgbClr val="02A200"/>
          </a:solidFill>
          <a:ln w="12700">
            <a:solidFill>
              <a:srgbClr val="0037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5" name="Flowchart: Alternate Process 4">
            <a:extLst>
              <a:ext uri="{FF2B5EF4-FFF2-40B4-BE49-F238E27FC236}">
                <a16:creationId xmlns:a16="http://schemas.microsoft.com/office/drawing/2014/main" id="{FAFE9046-DB80-B18D-8CF4-244AC62F051B}"/>
              </a:ext>
            </a:extLst>
          </p:cNvPr>
          <p:cNvSpPr>
            <a:spLocks/>
          </p:cNvSpPr>
          <p:nvPr/>
        </p:nvSpPr>
        <p:spPr>
          <a:xfrm>
            <a:off x="8117660" y="6458902"/>
            <a:ext cx="244308" cy="244308"/>
          </a:xfrm>
          <a:prstGeom prst="flowChartAlternateProcess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2DCAF9E-2BEF-29A7-8D61-02AF4C1DA0A6}"/>
              </a:ext>
            </a:extLst>
          </p:cNvPr>
          <p:cNvSpPr>
            <a:spLocks/>
          </p:cNvSpPr>
          <p:nvPr/>
        </p:nvSpPr>
        <p:spPr>
          <a:xfrm rot="2700000">
            <a:off x="10891166" y="6487614"/>
            <a:ext cx="186884" cy="186884"/>
          </a:xfrm>
          <a:prstGeom prst="roundRect">
            <a:avLst>
              <a:gd name="adj" fmla="val 9359"/>
            </a:avLst>
          </a:prstGeom>
          <a:solidFill>
            <a:srgbClr val="BB001B"/>
          </a:solidFill>
          <a:ln w="12700">
            <a:solidFill>
              <a:srgbClr val="64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0">
              <a:latin typeface="+mj-lt"/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B0CBE68A-18B6-3D40-4834-1F0B9E48EF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6011547" y="6473773"/>
            <a:ext cx="226962" cy="21456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09493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609493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609493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609493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609493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609493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609493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609493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609493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05412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c42bbd9-a754-4003-b794-02af6e91d531}" enabled="1" method="Standard" siteId="{80c4ffa6-7511-4bba-9f03-e5872a660c9b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119</Words>
  <Application>Microsoft Office PowerPoint</Application>
  <PresentationFormat>Widescreen</PresentationFormat>
  <Paragraphs>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rial</vt:lpstr>
      <vt:lpstr>Segoe UI</vt:lpstr>
      <vt:lpstr>Office Theme</vt:lpstr>
      <vt:lpstr>think-cell Slide</vt:lpstr>
      <vt:lpstr>[Team] | OKRs 2026 Version: Q1’26 | Owner: [(individual) name] | Last update: [date]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mas Vonwil</dc:creator>
  <cp:lastModifiedBy>Thomas Vonwil</cp:lastModifiedBy>
  <cp:revision>1</cp:revision>
  <dcterms:created xsi:type="dcterms:W3CDTF">2026-02-14T20:08:11Z</dcterms:created>
  <dcterms:modified xsi:type="dcterms:W3CDTF">2026-02-14T20:21:01Z</dcterms:modified>
</cp:coreProperties>
</file>